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24" r:id="rId5"/>
    <p:sldMasterId id="2147483769" r:id="rId6"/>
    <p:sldMasterId id="2147483751" r:id="rId7"/>
    <p:sldMasterId id="2147483775" r:id="rId8"/>
    <p:sldMasterId id="2147483806" r:id="rId9"/>
  </p:sldMasterIdLst>
  <p:notesMasterIdLst>
    <p:notesMasterId r:id="rId15"/>
  </p:notesMasterIdLst>
  <p:handoutMasterIdLst>
    <p:handoutMasterId r:id="rId16"/>
  </p:handoutMasterIdLst>
  <p:sldIdLst>
    <p:sldId id="2147196907" r:id="rId10"/>
    <p:sldId id="2147469951" r:id="rId11"/>
    <p:sldId id="2147469955" r:id="rId12"/>
    <p:sldId id="2147469956" r:id="rId13"/>
    <p:sldId id="2147197023" r:id="rId14"/>
  </p:sldIdLst>
  <p:sldSz cx="16254413" cy="9144000"/>
  <p:notesSz cx="6797675" cy="9926638"/>
  <p:defaultTextStyle>
    <a:defPPr>
      <a:defRPr lang="nb-NO"/>
    </a:defPPr>
    <a:lvl1pPr marL="0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1pPr>
    <a:lvl2pPr marL="574975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2pPr>
    <a:lvl3pPr marL="114994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3pPr>
    <a:lvl4pPr marL="172492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4pPr>
    <a:lvl5pPr marL="229989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5pPr>
    <a:lvl6pPr marL="287487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6pPr>
    <a:lvl7pPr marL="344984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7pPr>
    <a:lvl8pPr marL="4024823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8pPr>
    <a:lvl9pPr marL="459979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B2AF601-AE9A-0F4E-1A53-E87FF9E8661C}" name="Olsen, Nina Munthe" initials="ONM" userId="S::NinaMunthe.Olsen@digdir.no::382f5715-a1d1-4af6-8221-ce117260e082" providerId="AD"/>
  <p188:author id="{EF304837-6326-BE1B-FA6D-1BDC97CF384D}" name="Korslien, Kjetil" initials="KK" userId="S::kjetil.korslien@digdir.no::ac3470ad-2dad-4595-a9a5-3c08a62223a4" providerId="AD"/>
  <p188:author id="{975B65DA-817F-3C1C-CB27-68FA4779A4FE}" name="Evensen, Marcus Alexander" initials="EA" userId="S::marcusalexander.evensen@digdir.no::6f1783ec-4afd-4014-9f26-7c39d8973bf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3751"/>
    <a:srgbClr val="1E2B3C"/>
    <a:srgbClr val="E8F5F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E43EBFB-449A-4D0B-AB90-EEFB1F013CD3}" v="3" dt="2023-09-24T15:47:34.54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42" autoAdjust="0"/>
    <p:restoredTop sz="85007" autoAdjust="0"/>
  </p:normalViewPr>
  <p:slideViewPr>
    <p:cSldViewPr snapToGrid="0">
      <p:cViewPr varScale="1">
        <p:scale>
          <a:sx n="47" d="100"/>
          <a:sy n="47" d="100"/>
        </p:scale>
        <p:origin x="7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sen, Frode" userId="b9a47b53-be53-4b4e-99ab-1e445086c0ae" providerId="ADAL" clId="{2E43EBFB-449A-4D0B-AB90-EEFB1F013CD3}"/>
    <pc:docChg chg="custSel addSld delSld modSld sldOrd">
      <pc:chgData name="Danielsen, Frode" userId="b9a47b53-be53-4b4e-99ab-1e445086c0ae" providerId="ADAL" clId="{2E43EBFB-449A-4D0B-AB90-EEFB1F013CD3}" dt="2023-09-25T08:16:44.152" v="2663" actId="20577"/>
      <pc:docMkLst>
        <pc:docMk/>
      </pc:docMkLst>
      <pc:sldChg chg="modSp add mod ord">
        <pc:chgData name="Danielsen, Frode" userId="b9a47b53-be53-4b4e-99ab-1e445086c0ae" providerId="ADAL" clId="{2E43EBFB-449A-4D0B-AB90-EEFB1F013CD3}" dt="2023-09-24T15:47:09.213" v="2583" actId="20577"/>
        <pc:sldMkLst>
          <pc:docMk/>
          <pc:sldMk cId="2412723948" sldId="2147196907"/>
        </pc:sldMkLst>
        <pc:spChg chg="mod">
          <ac:chgData name="Danielsen, Frode" userId="b9a47b53-be53-4b4e-99ab-1e445086c0ae" providerId="ADAL" clId="{2E43EBFB-449A-4D0B-AB90-EEFB1F013CD3}" dt="2023-09-24T15:47:09.213" v="2583" actId="20577"/>
          <ac:spMkLst>
            <pc:docMk/>
            <pc:sldMk cId="2412723948" sldId="2147196907"/>
            <ac:spMk id="4" creationId="{7F2F2284-9E36-4EDA-99EA-F86E5B5D47CA}"/>
          </ac:spMkLst>
        </pc:spChg>
      </pc:sldChg>
      <pc:sldChg chg="add">
        <pc:chgData name="Danielsen, Frode" userId="b9a47b53-be53-4b4e-99ab-1e445086c0ae" providerId="ADAL" clId="{2E43EBFB-449A-4D0B-AB90-EEFB1F013CD3}" dt="2023-09-24T15:47:34.529" v="2584"/>
        <pc:sldMkLst>
          <pc:docMk/>
          <pc:sldMk cId="305637641" sldId="2147197023"/>
        </pc:sldMkLst>
      </pc:sldChg>
      <pc:sldChg chg="del">
        <pc:chgData name="Danielsen, Frode" userId="b9a47b53-be53-4b4e-99ab-1e445086c0ae" providerId="ADAL" clId="{2E43EBFB-449A-4D0B-AB90-EEFB1F013CD3}" dt="2023-09-23T12:34:11.194" v="0" actId="47"/>
        <pc:sldMkLst>
          <pc:docMk/>
          <pc:sldMk cId="1763092950" sldId="2147197253"/>
        </pc:sldMkLst>
      </pc:sldChg>
      <pc:sldChg chg="addSp delSp modSp mod">
        <pc:chgData name="Danielsen, Frode" userId="b9a47b53-be53-4b4e-99ab-1e445086c0ae" providerId="ADAL" clId="{2E43EBFB-449A-4D0B-AB90-EEFB1F013CD3}" dt="2023-09-25T08:15:58.455" v="2618" actId="20577"/>
        <pc:sldMkLst>
          <pc:docMk/>
          <pc:sldMk cId="4132581641" sldId="2147469951"/>
        </pc:sldMkLst>
        <pc:spChg chg="mod">
          <ac:chgData name="Danielsen, Frode" userId="b9a47b53-be53-4b4e-99ab-1e445086c0ae" providerId="ADAL" clId="{2E43EBFB-449A-4D0B-AB90-EEFB1F013CD3}" dt="2023-09-24T15:44:03.776" v="2359" actId="27636"/>
          <ac:spMkLst>
            <pc:docMk/>
            <pc:sldMk cId="4132581641" sldId="2147469951"/>
            <ac:spMk id="3" creationId="{2DEA13CC-7FEE-4609-62E0-67981B4CF900}"/>
          </ac:spMkLst>
        </pc:spChg>
        <pc:spChg chg="del mod">
          <ac:chgData name="Danielsen, Frode" userId="b9a47b53-be53-4b4e-99ab-1e445086c0ae" providerId="ADAL" clId="{2E43EBFB-449A-4D0B-AB90-EEFB1F013CD3}" dt="2023-09-24T15:42:08.343" v="2283" actId="478"/>
          <ac:spMkLst>
            <pc:docMk/>
            <pc:sldMk cId="4132581641" sldId="2147469951"/>
            <ac:spMk id="4" creationId="{0CA2CD19-014A-A050-25CD-3B8C7A23F48A}"/>
          </ac:spMkLst>
        </pc:spChg>
        <pc:spChg chg="add mod">
          <ac:chgData name="Danielsen, Frode" userId="b9a47b53-be53-4b4e-99ab-1e445086c0ae" providerId="ADAL" clId="{2E43EBFB-449A-4D0B-AB90-EEFB1F013CD3}" dt="2023-09-25T08:15:58.455" v="2618" actId="20577"/>
          <ac:spMkLst>
            <pc:docMk/>
            <pc:sldMk cId="4132581641" sldId="2147469951"/>
            <ac:spMk id="10" creationId="{691BF560-C946-C689-8557-1384CDA6310D}"/>
          </ac:spMkLst>
        </pc:spChg>
        <pc:picChg chg="mod">
          <ac:chgData name="Danielsen, Frode" userId="b9a47b53-be53-4b4e-99ab-1e445086c0ae" providerId="ADAL" clId="{2E43EBFB-449A-4D0B-AB90-EEFB1F013CD3}" dt="2023-09-24T15:19:58.936" v="1498" actId="1076"/>
          <ac:picMkLst>
            <pc:docMk/>
            <pc:sldMk cId="4132581641" sldId="2147469951"/>
            <ac:picMk id="2" creationId="{288499AA-CACC-28DA-9B71-66E81CBF9A56}"/>
          </ac:picMkLst>
        </pc:picChg>
        <pc:picChg chg="mod">
          <ac:chgData name="Danielsen, Frode" userId="b9a47b53-be53-4b4e-99ab-1e445086c0ae" providerId="ADAL" clId="{2E43EBFB-449A-4D0B-AB90-EEFB1F013CD3}" dt="2023-09-23T12:38:47.878" v="289" actId="1076"/>
          <ac:picMkLst>
            <pc:docMk/>
            <pc:sldMk cId="4132581641" sldId="2147469951"/>
            <ac:picMk id="5" creationId="{91C6984F-059B-EE40-7A78-6F00076E8CE6}"/>
          </ac:picMkLst>
        </pc:picChg>
        <pc:picChg chg="mod">
          <ac:chgData name="Danielsen, Frode" userId="b9a47b53-be53-4b4e-99ab-1e445086c0ae" providerId="ADAL" clId="{2E43EBFB-449A-4D0B-AB90-EEFB1F013CD3}" dt="2023-09-23T12:38:53.518" v="291" actId="1076"/>
          <ac:picMkLst>
            <pc:docMk/>
            <pc:sldMk cId="4132581641" sldId="2147469951"/>
            <ac:picMk id="7" creationId="{0CA6B92F-E2AA-2D60-C6A3-590967A1DFE6}"/>
          </ac:picMkLst>
        </pc:picChg>
        <pc:picChg chg="mod">
          <ac:chgData name="Danielsen, Frode" userId="b9a47b53-be53-4b4e-99ab-1e445086c0ae" providerId="ADAL" clId="{2E43EBFB-449A-4D0B-AB90-EEFB1F013CD3}" dt="2023-09-24T15:20:01.394" v="1499" actId="1076"/>
          <ac:picMkLst>
            <pc:docMk/>
            <pc:sldMk cId="4132581641" sldId="2147469951"/>
            <ac:picMk id="9" creationId="{E76F1CC8-7B44-D6CF-92C6-D945E0D361CB}"/>
          </ac:picMkLst>
        </pc:picChg>
      </pc:sldChg>
      <pc:sldChg chg="del">
        <pc:chgData name="Danielsen, Frode" userId="b9a47b53-be53-4b4e-99ab-1e445086c0ae" providerId="ADAL" clId="{2E43EBFB-449A-4D0B-AB90-EEFB1F013CD3}" dt="2023-09-23T12:37:16.298" v="259" actId="47"/>
        <pc:sldMkLst>
          <pc:docMk/>
          <pc:sldMk cId="1910641389" sldId="2147469954"/>
        </pc:sldMkLst>
      </pc:sldChg>
      <pc:sldChg chg="modSp mod">
        <pc:chgData name="Danielsen, Frode" userId="b9a47b53-be53-4b4e-99ab-1e445086c0ae" providerId="ADAL" clId="{2E43EBFB-449A-4D0B-AB90-EEFB1F013CD3}" dt="2023-09-25T08:16:44.152" v="2663" actId="20577"/>
        <pc:sldMkLst>
          <pc:docMk/>
          <pc:sldMk cId="3573018893" sldId="2147469955"/>
        </pc:sldMkLst>
        <pc:spChg chg="mod">
          <ac:chgData name="Danielsen, Frode" userId="b9a47b53-be53-4b4e-99ab-1e445086c0ae" providerId="ADAL" clId="{2E43EBFB-449A-4D0B-AB90-EEFB1F013CD3}" dt="2023-09-24T15:45:05.877" v="2392" actId="20577"/>
          <ac:spMkLst>
            <pc:docMk/>
            <pc:sldMk cId="3573018893" sldId="2147469955"/>
            <ac:spMk id="2" creationId="{FAAB7E16-24B4-F7DE-BB71-3A81B067FED5}"/>
          </ac:spMkLst>
        </pc:spChg>
        <pc:spChg chg="mod">
          <ac:chgData name="Danielsen, Frode" userId="b9a47b53-be53-4b4e-99ab-1e445086c0ae" providerId="ADAL" clId="{2E43EBFB-449A-4D0B-AB90-EEFB1F013CD3}" dt="2023-09-25T08:16:44.152" v="2663" actId="20577"/>
          <ac:spMkLst>
            <pc:docMk/>
            <pc:sldMk cId="3573018893" sldId="2147469955"/>
            <ac:spMk id="3" creationId="{16BF5F5C-68A3-139B-F91F-65246D2D89B8}"/>
          </ac:spMkLst>
        </pc:spChg>
      </pc:sldChg>
      <pc:sldChg chg="modSp mod">
        <pc:chgData name="Danielsen, Frode" userId="b9a47b53-be53-4b4e-99ab-1e445086c0ae" providerId="ADAL" clId="{2E43EBFB-449A-4D0B-AB90-EEFB1F013CD3}" dt="2023-09-24T15:46:36.918" v="2545" actId="20577"/>
        <pc:sldMkLst>
          <pc:docMk/>
          <pc:sldMk cId="3160130794" sldId="2147469956"/>
        </pc:sldMkLst>
        <pc:spChg chg="mod">
          <ac:chgData name="Danielsen, Frode" userId="b9a47b53-be53-4b4e-99ab-1e445086c0ae" providerId="ADAL" clId="{2E43EBFB-449A-4D0B-AB90-EEFB1F013CD3}" dt="2023-09-24T15:46:26.138" v="2544" actId="20577"/>
          <ac:spMkLst>
            <pc:docMk/>
            <pc:sldMk cId="3160130794" sldId="2147469956"/>
            <ac:spMk id="2" creationId="{1AC3B401-5E3A-D3AB-CA28-A27D7532F121}"/>
          </ac:spMkLst>
        </pc:spChg>
        <pc:spChg chg="mod">
          <ac:chgData name="Danielsen, Frode" userId="b9a47b53-be53-4b4e-99ab-1e445086c0ae" providerId="ADAL" clId="{2E43EBFB-449A-4D0B-AB90-EEFB1F013CD3}" dt="2023-09-24T15:46:36.918" v="2545" actId="20577"/>
          <ac:spMkLst>
            <pc:docMk/>
            <pc:sldMk cId="3160130794" sldId="2147469956"/>
            <ac:spMk id="3" creationId="{5B3A3EF1-F182-F763-9404-9EA0A158762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C97D9F32-F20C-4DB6-9AA8-FF5CEA8D11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59CB09C-20D6-4E98-B90F-BDF87D963BC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5AD78B-924F-4294-8809-135CCCE6CC67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6CB1BA3-312D-4209-8EA0-1B3A050A5B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1C6328D-6A92-426F-9F1D-E51EC222C2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377C6-E647-4E98-8F65-2DC6962E8ED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5475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3C8BA2-A732-4010-9FA2-CD86F6819041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830D03-FCDC-451F-BDB0-951012D902F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2191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CFA9B8-B609-4D24-86F7-41636212E816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8695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B9348F-13F4-433A-B5AB-3D2054E71660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03149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.png"/><Relationship Id="rId4" Type="http://schemas.openxmlformats.org/officeDocument/2006/relationships/image" Target="../media/image1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.png"/><Relationship Id="rId4" Type="http://schemas.openxmlformats.org/officeDocument/2006/relationships/image" Target="../media/image18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1.png"/><Relationship Id="rId4" Type="http://schemas.openxmlformats.org/officeDocument/2006/relationships/image" Target="../media/image20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5" Type="http://schemas.openxmlformats.org/officeDocument/2006/relationships/image" Target="../media/image1.png"/><Relationship Id="rId4" Type="http://schemas.openxmlformats.org/officeDocument/2006/relationships/image" Target="../media/image2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0.mp4"/><Relationship Id="rId1" Type="http://schemas.microsoft.com/office/2007/relationships/media" Target="../media/media10.mp4"/><Relationship Id="rId5" Type="http://schemas.openxmlformats.org/officeDocument/2006/relationships/image" Target="../media/image1.png"/><Relationship Id="rId4" Type="http://schemas.openxmlformats.org/officeDocument/2006/relationships/image" Target="../media/image2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1.mp4"/><Relationship Id="rId1" Type="http://schemas.microsoft.com/office/2007/relationships/media" Target="../media/media11.mp4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.png"/><Relationship Id="rId4" Type="http://schemas.openxmlformats.org/officeDocument/2006/relationships/image" Target="../media/image17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.png"/><Relationship Id="rId4" Type="http://schemas.openxmlformats.org/officeDocument/2006/relationships/image" Target="../media/image18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1.png"/><Relationship Id="rId4" Type="http://schemas.openxmlformats.org/officeDocument/2006/relationships/image" Target="../media/image20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5" Type="http://schemas.openxmlformats.org/officeDocument/2006/relationships/image" Target="../media/image1.png"/><Relationship Id="rId4" Type="http://schemas.openxmlformats.org/officeDocument/2006/relationships/image" Target="../media/image2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0.mp4"/><Relationship Id="rId1" Type="http://schemas.microsoft.com/office/2007/relationships/media" Target="../media/media10.mp4"/><Relationship Id="rId5" Type="http://schemas.openxmlformats.org/officeDocument/2006/relationships/image" Target="../media/image1.png"/><Relationship Id="rId4" Type="http://schemas.openxmlformats.org/officeDocument/2006/relationships/image" Target="../media/image2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1.mp4"/><Relationship Id="rId1" Type="http://schemas.microsoft.com/office/2007/relationships/media" Target="../media/media11.mp4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2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64231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682023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6033" cy="4572572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64232" y="5309936"/>
            <a:ext cx="12295196" cy="2971097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885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944914" y="101600"/>
            <a:ext cx="13628915" cy="107405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4597" y="0"/>
            <a:ext cx="8129816" cy="9145143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589" y="566057"/>
            <a:ext cx="6480810" cy="8049032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446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1306286" y="130629"/>
            <a:ext cx="14557828" cy="191588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572572"/>
            <a:ext cx="8129816" cy="4571428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135" y="338378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9816" y="0"/>
            <a:ext cx="8124596" cy="4572572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81147" y="4856071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5060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2365830" y="900110"/>
            <a:ext cx="11771736" cy="753268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271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2365963" y="3681198"/>
            <a:ext cx="6120080" cy="14196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963" y="600106"/>
            <a:ext cx="439149" cy="440948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0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6" y="4295660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8054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11102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Grev Wedels Plass 9, 0151 Oslo</a:t>
            </a:r>
            <a:endParaRPr lang="nb-NO" sz="12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3393643" y="7302500"/>
            <a:ext cx="3048000" cy="335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rgbClr val="1E2B3C"/>
                </a:solidFill>
              </a:rPr>
              <a:t>digdir.no</a:t>
            </a:r>
            <a:endParaRPr lang="nb-NO" sz="12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75015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1">
            <a:hlinkClick r:id="" action="ppaction://media"/>
            <a:extLst>
              <a:ext uri="{FF2B5EF4-FFF2-40B4-BE49-F238E27FC236}">
                <a16:creationId xmlns:a16="http://schemas.microsoft.com/office/drawing/2014/main" id="{9D8054C2-404C-4902-A00B-CDC21692948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4413" cy="91431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03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2">
            <a:hlinkClick r:id="" action="ppaction://media"/>
            <a:extLst>
              <a:ext uri="{FF2B5EF4-FFF2-40B4-BE49-F238E27FC236}">
                <a16:creationId xmlns:a16="http://schemas.microsoft.com/office/drawing/2014/main" id="{BAEB2C08-6275-4E05-A719-5423DA108A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2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3">
            <a:hlinkClick r:id="" action="ppaction://media"/>
            <a:extLst>
              <a:ext uri="{FF2B5EF4-FFF2-40B4-BE49-F238E27FC236}">
                <a16:creationId xmlns:a16="http://schemas.microsoft.com/office/drawing/2014/main" id="{16636BD1-6D01-43C8-9703-319789A8E9C2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946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4">
            <a:hlinkClick r:id="" action="ppaction://media"/>
            <a:extLst>
              <a:ext uri="{FF2B5EF4-FFF2-40B4-BE49-F238E27FC236}">
                <a16:creationId xmlns:a16="http://schemas.microsoft.com/office/drawing/2014/main" id="{01948658-E107-4673-853B-7E4EC79DD00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874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5">
            <a:hlinkClick r:id="" action="ppaction://media"/>
            <a:extLst>
              <a:ext uri="{FF2B5EF4-FFF2-40B4-BE49-F238E27FC236}">
                <a16:creationId xmlns:a16="http://schemas.microsoft.com/office/drawing/2014/main" id="{9CAB091A-4D4F-4D56-AD2B-62225BB722F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0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6">
            <a:hlinkClick r:id="" action="ppaction://media"/>
            <a:extLst>
              <a:ext uri="{FF2B5EF4-FFF2-40B4-BE49-F238E27FC236}">
                <a16:creationId xmlns:a16="http://schemas.microsoft.com/office/drawing/2014/main" id="{BA551B63-9795-46AD-AD4F-E5D9D654D57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280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7">
            <a:hlinkClick r:id="" action="ppaction://media"/>
            <a:extLst>
              <a:ext uri="{FF2B5EF4-FFF2-40B4-BE49-F238E27FC236}">
                <a16:creationId xmlns:a16="http://schemas.microsoft.com/office/drawing/2014/main" id="{02FF6D17-3B7F-41FF-A026-44065259C7C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997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8">
            <a:hlinkClick r:id="" action="ppaction://media"/>
            <a:extLst>
              <a:ext uri="{FF2B5EF4-FFF2-40B4-BE49-F238E27FC236}">
                <a16:creationId xmlns:a16="http://schemas.microsoft.com/office/drawing/2014/main" id="{B7C49D2E-8481-48C5-982E-FBA05A32864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B9EAEB-567D-46AB-BDCF-F0F067B4F97C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80688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9">
            <a:hlinkClick r:id="" action="ppaction://media"/>
            <a:extLst>
              <a:ext uri="{FF2B5EF4-FFF2-40B4-BE49-F238E27FC236}">
                <a16:creationId xmlns:a16="http://schemas.microsoft.com/office/drawing/2014/main" id="{8E5F1F34-6F1E-47AE-832E-FE861F723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-1"/>
            <a:ext cx="16254413" cy="914310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0442EF8D-8DD1-4D21-8B66-6BDC9E811030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900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1">
            <a:hlinkClick r:id="" action="ppaction://media"/>
            <a:extLst>
              <a:ext uri="{FF2B5EF4-FFF2-40B4-BE49-F238E27FC236}">
                <a16:creationId xmlns:a16="http://schemas.microsoft.com/office/drawing/2014/main" id="{9D8054C2-404C-4902-A00B-CDC21692948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4413" cy="91431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241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2">
            <a:hlinkClick r:id="" action="ppaction://media"/>
            <a:extLst>
              <a:ext uri="{FF2B5EF4-FFF2-40B4-BE49-F238E27FC236}">
                <a16:creationId xmlns:a16="http://schemas.microsoft.com/office/drawing/2014/main" id="{BAEB2C08-6275-4E05-A719-5423DA108A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8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3">
            <a:hlinkClick r:id="" action="ppaction://media"/>
            <a:extLst>
              <a:ext uri="{FF2B5EF4-FFF2-40B4-BE49-F238E27FC236}">
                <a16:creationId xmlns:a16="http://schemas.microsoft.com/office/drawing/2014/main" id="{16636BD1-6D01-43C8-9703-319789A8E9C2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313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4">
            <a:hlinkClick r:id="" action="ppaction://media"/>
            <a:extLst>
              <a:ext uri="{FF2B5EF4-FFF2-40B4-BE49-F238E27FC236}">
                <a16:creationId xmlns:a16="http://schemas.microsoft.com/office/drawing/2014/main" id="{01948658-E107-4673-853B-7E4EC79DD00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90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5">
            <a:hlinkClick r:id="" action="ppaction://media"/>
            <a:extLst>
              <a:ext uri="{FF2B5EF4-FFF2-40B4-BE49-F238E27FC236}">
                <a16:creationId xmlns:a16="http://schemas.microsoft.com/office/drawing/2014/main" id="{9CAB091A-4D4F-4D56-AD2B-62225BB722F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067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6">
            <a:hlinkClick r:id="" action="ppaction://media"/>
            <a:extLst>
              <a:ext uri="{FF2B5EF4-FFF2-40B4-BE49-F238E27FC236}">
                <a16:creationId xmlns:a16="http://schemas.microsoft.com/office/drawing/2014/main" id="{BA551B63-9795-46AD-AD4F-E5D9D654D57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16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7">
            <a:hlinkClick r:id="" action="ppaction://media"/>
            <a:extLst>
              <a:ext uri="{FF2B5EF4-FFF2-40B4-BE49-F238E27FC236}">
                <a16:creationId xmlns:a16="http://schemas.microsoft.com/office/drawing/2014/main" id="{02FF6D17-3B7F-41FF-A026-44065259C7C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529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8">
            <a:hlinkClick r:id="" action="ppaction://media"/>
            <a:extLst>
              <a:ext uri="{FF2B5EF4-FFF2-40B4-BE49-F238E27FC236}">
                <a16:creationId xmlns:a16="http://schemas.microsoft.com/office/drawing/2014/main" id="{B7C49D2E-8481-48C5-982E-FBA05A32864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B9EAEB-567D-46AB-BDCF-F0F067B4F97C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34238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9">
            <a:hlinkClick r:id="" action="ppaction://media"/>
            <a:extLst>
              <a:ext uri="{FF2B5EF4-FFF2-40B4-BE49-F238E27FC236}">
                <a16:creationId xmlns:a16="http://schemas.microsoft.com/office/drawing/2014/main" id="{8E5F1F34-6F1E-47AE-832E-FE861F723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893"/>
            <a:ext cx="16254413" cy="914310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0442EF8D-8DD1-4D21-8B66-6BDC9E811030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91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0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A58E3A6B-EA4C-4626-9E84-D2FCDB9D15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01C47239-937F-429D-B45C-C42F22D5E0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EC76A83F-1E9D-4B26-ACB2-AAEF7CAD90D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CD4E612E-D29A-4313-93FE-5D8EEC8329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1324FC3-62A4-40CD-A713-B85CBF5808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6">
            <a:extLst>
              <a:ext uri="{FF2B5EF4-FFF2-40B4-BE49-F238E27FC236}">
                <a16:creationId xmlns:a16="http://schemas.microsoft.com/office/drawing/2014/main" id="{E21CB5DA-FF68-4A90-BB95-09D443C8705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9AAEFB73-8C5F-4E73-BDD7-670B1163C5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BF6292FC-F2D3-41F3-B4A5-AE548EB2EE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9" name="Bilde 6">
            <a:extLst>
              <a:ext uri="{FF2B5EF4-FFF2-40B4-BE49-F238E27FC236}">
                <a16:creationId xmlns:a16="http://schemas.microsoft.com/office/drawing/2014/main" id="{E4339DCA-38E4-4488-91A0-14CD6C4E87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2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4431" y="1480956"/>
            <a:ext cx="13945552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4431" y="2453731"/>
            <a:ext cx="13945552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80110" y="2510971"/>
            <a:ext cx="7021018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28381" y="2510971"/>
            <a:ext cx="7021018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1" y="1480956"/>
            <a:ext cx="14494192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6033" cy="4572572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81731" y="5309936"/>
            <a:ext cx="14490951" cy="2971097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9885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4597" y="0"/>
            <a:ext cx="8129816" cy="9145143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589" y="1703069"/>
            <a:ext cx="6480810" cy="6912019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446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C2B9FB3-23BB-41F5-BD91-B6AC25F1321F}"/>
              </a:ext>
            </a:extLst>
          </p:cNvPr>
          <p:cNvSpPr/>
          <p:nvPr userDrawn="1"/>
        </p:nvSpPr>
        <p:spPr>
          <a:xfrm>
            <a:off x="708660" y="331470"/>
            <a:ext cx="14790420" cy="1257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427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6254413" cy="9141965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2365963" y="3681198"/>
            <a:ext cx="6120080" cy="14196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813" y="600106"/>
            <a:ext cx="439149" cy="440948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6" y="4295660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8054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11102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chemeClr val="bg1"/>
                </a:solidFill>
              </a:rPr>
              <a:t>Grev Wedels Plass 9, 0151 Oslo</a:t>
            </a:r>
            <a:endParaRPr lang="nb-NO" sz="1200" b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3393643" y="7302500"/>
            <a:ext cx="3048000" cy="335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>
                <a:solidFill>
                  <a:srgbClr val="1E2B3C"/>
                </a:solidFill>
              </a:rPr>
              <a:t>digdir.no</a:t>
            </a:r>
            <a:endParaRPr lang="nb-NO" sz="1200" b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D4A9F7-26C5-4694-A296-7076D5CEB33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0150" y="2116815"/>
            <a:ext cx="14331150" cy="6051908"/>
          </a:xfrm>
        </p:spPr>
        <p:txBody>
          <a:bodyPr lIns="75600" tIns="75600" rIns="75600" bIns="75600">
            <a:normAutofit/>
          </a:bodyPr>
          <a:lstStyle>
            <a:lvl1pPr marL="353414" indent="-353414">
              <a:defRPr/>
            </a:lvl1pPr>
            <a:lvl2pPr marL="721640" indent="-368226">
              <a:defRPr/>
            </a:lvl2pPr>
          </a:lstStyle>
          <a:p>
            <a:pPr lvl="0"/>
            <a:r>
              <a:rPr lang="nb-NO" noProof="0"/>
              <a:t>Tekst – Tahoma 18pt</a:t>
            </a:r>
          </a:p>
          <a:p>
            <a:pPr lvl="1"/>
            <a:r>
              <a:rPr lang="nb-NO" noProof="0"/>
              <a:t>Andre nivå</a:t>
            </a:r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1A4B0183-D6C8-4580-9610-C59C2EF430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58757" y="985520"/>
            <a:ext cx="14333939" cy="728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/>
            </a:lvl1pPr>
          </a:lstStyle>
          <a:p>
            <a:r>
              <a:rPr lang="nb-NO" noProof="0"/>
              <a:t>Titte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30B3B81-CB18-49F2-A0E3-637EFF665D98}"/>
              </a:ext>
            </a:extLst>
          </p:cNvPr>
          <p:cNvSpPr txBox="1"/>
          <p:nvPr userDrawn="1"/>
        </p:nvSpPr>
        <p:spPr>
          <a:xfrm>
            <a:off x="335967" y="-512072"/>
            <a:ext cx="54398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noProof="0"/>
              <a:t>Farge på teks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6BF4AE-C967-4346-99C5-1B876420959E}"/>
              </a:ext>
            </a:extLst>
          </p:cNvPr>
          <p:cNvSpPr/>
          <p:nvPr userDrawn="1"/>
        </p:nvSpPr>
        <p:spPr>
          <a:xfrm>
            <a:off x="0" y="-499876"/>
            <a:ext cx="335967" cy="336000"/>
          </a:xfrm>
          <a:prstGeom prst="rect">
            <a:avLst/>
          </a:prstGeom>
          <a:solidFill>
            <a:srgbClr val="49494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262" noProof="0"/>
          </a:p>
        </p:txBody>
      </p:sp>
    </p:spTree>
    <p:extLst>
      <p:ext uri="{BB962C8B-B14F-4D97-AF65-F5344CB8AC3E}">
        <p14:creationId xmlns:p14="http://schemas.microsoft.com/office/powerpoint/2010/main" val="2507153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1306286" y="130629"/>
            <a:ext cx="14557828" cy="191588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572572"/>
            <a:ext cx="8129816" cy="4571428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135" y="338378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9816" y="0"/>
            <a:ext cx="8124596" cy="4572572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81147" y="4856071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3254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36754C-64D1-854B-9FF6-8AAB0133B3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1802" y="1496485"/>
            <a:ext cx="12190810" cy="3183467"/>
          </a:xfrm>
        </p:spPr>
        <p:txBody>
          <a:bodyPr anchor="b"/>
          <a:lstStyle>
            <a:lvl1pPr algn="ctr">
              <a:defRPr sz="7998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42F7CD73-700D-2245-A730-5BA8CD5DED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1802" y="4802717"/>
            <a:ext cx="12190810" cy="2207683"/>
          </a:xfrm>
        </p:spPr>
        <p:txBody>
          <a:bodyPr/>
          <a:lstStyle>
            <a:lvl1pPr marL="0" indent="0" algn="ctr">
              <a:buNone/>
              <a:defRPr sz="3200"/>
            </a:lvl1pPr>
            <a:lvl2pPr marL="609478" indent="0" algn="ctr">
              <a:buNone/>
              <a:defRPr sz="2666"/>
            </a:lvl2pPr>
            <a:lvl3pPr marL="1218957" indent="0" algn="ctr">
              <a:buNone/>
              <a:defRPr sz="2400"/>
            </a:lvl3pPr>
            <a:lvl4pPr marL="1828434" indent="0" algn="ctr">
              <a:buNone/>
              <a:defRPr sz="2133"/>
            </a:lvl4pPr>
            <a:lvl5pPr marL="2437912" indent="0" algn="ctr">
              <a:buNone/>
              <a:defRPr sz="2133"/>
            </a:lvl5pPr>
            <a:lvl6pPr marL="3047390" indent="0" algn="ctr">
              <a:buNone/>
              <a:defRPr sz="2133"/>
            </a:lvl6pPr>
            <a:lvl7pPr marL="3656869" indent="0" algn="ctr">
              <a:buNone/>
              <a:defRPr sz="2133"/>
            </a:lvl7pPr>
            <a:lvl8pPr marL="4266347" indent="0" algn="ctr">
              <a:buNone/>
              <a:defRPr sz="2133"/>
            </a:lvl8pPr>
            <a:lvl9pPr marL="4875824" indent="0" algn="ctr">
              <a:buNone/>
              <a:defRPr sz="2133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CD98FC-15B2-E247-B183-B8BA9081F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8D13D8F-A762-E54E-AE72-933FEA22F2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F7F49FA-84BC-3449-A0A9-B6DD94834D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21515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F7DD6B6-B9D7-644E-BF4A-59DFA143F1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D82C616-0C4F-F445-BBFD-75DA03DB4B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D559DC0-7165-0F42-A813-A026E980AA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E3642C0-A84E-F243-886B-634A947A9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5B60863-4F94-4942-91A0-287BE4E59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281567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D9A6EC1-266C-3842-82E7-29E66C5AD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9025" y="2279653"/>
            <a:ext cx="14019431" cy="3803649"/>
          </a:xfrm>
        </p:spPr>
        <p:txBody>
          <a:bodyPr anchor="b"/>
          <a:lstStyle>
            <a:lvl1pPr>
              <a:defRPr sz="7998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A2C75E7-4C47-2D48-BDBD-967986BC57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09025" y="6119286"/>
            <a:ext cx="14019431" cy="2000249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1pPr>
            <a:lvl2pPr marL="609478" indent="0">
              <a:buNone/>
              <a:defRPr sz="2666">
                <a:solidFill>
                  <a:schemeClr val="tx1">
                    <a:tint val="75000"/>
                  </a:schemeClr>
                </a:solidFill>
              </a:defRPr>
            </a:lvl2pPr>
            <a:lvl3pPr marL="1218957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43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7912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39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686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6347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58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E9D8ED0C-BBFE-294E-A4F6-23D89B4860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DB3269D-49A2-9543-BC14-B330FCDE6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7833582-8C8E-4347-8D51-02D096DDF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69523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421B0C3-7DCD-0048-AA3B-5090E3391D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EE890C2-26F1-0B41-9D6C-8DB71D49D1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17491" y="2434167"/>
            <a:ext cx="6908126" cy="580178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6FE5BAE-01B2-6C4F-AC90-CED571B5A2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28796" y="2434167"/>
            <a:ext cx="6908126" cy="580178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BEB23726-31E9-4A43-9150-F8298A8C74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876A7DB4-0680-A54A-A841-4E508CC7C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BA65513-0837-1640-9851-43EA6D9B11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7465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C4C4B9B-E8C8-CD47-BF31-76A50A88A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608" y="486836"/>
            <a:ext cx="14019431" cy="176741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26126DD-3F32-D94B-9B4D-1F398632BE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9610" y="2241552"/>
            <a:ext cx="6876378" cy="10985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78" indent="0">
              <a:buNone/>
              <a:defRPr sz="2666" b="1"/>
            </a:lvl2pPr>
            <a:lvl3pPr marL="1218957" indent="0">
              <a:buNone/>
              <a:defRPr sz="2400" b="1"/>
            </a:lvl3pPr>
            <a:lvl4pPr marL="1828434" indent="0">
              <a:buNone/>
              <a:defRPr sz="2133" b="1"/>
            </a:lvl4pPr>
            <a:lvl5pPr marL="2437912" indent="0">
              <a:buNone/>
              <a:defRPr sz="2133" b="1"/>
            </a:lvl5pPr>
            <a:lvl6pPr marL="3047390" indent="0">
              <a:buNone/>
              <a:defRPr sz="2133" b="1"/>
            </a:lvl6pPr>
            <a:lvl7pPr marL="3656869" indent="0">
              <a:buNone/>
              <a:defRPr sz="2133" b="1"/>
            </a:lvl7pPr>
            <a:lvl8pPr marL="4266347" indent="0">
              <a:buNone/>
              <a:defRPr sz="2133" b="1"/>
            </a:lvl8pPr>
            <a:lvl9pPr marL="4875824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63C94AD-3ED4-9F40-9B0C-F155D12011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9610" y="3340100"/>
            <a:ext cx="6876378" cy="491278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D2ED3224-1D4D-EB49-8690-6E377024BBC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8228796" y="2241552"/>
            <a:ext cx="6910243" cy="10985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78" indent="0">
              <a:buNone/>
              <a:defRPr sz="2666" b="1"/>
            </a:lvl2pPr>
            <a:lvl3pPr marL="1218957" indent="0">
              <a:buNone/>
              <a:defRPr sz="2400" b="1"/>
            </a:lvl3pPr>
            <a:lvl4pPr marL="1828434" indent="0">
              <a:buNone/>
              <a:defRPr sz="2133" b="1"/>
            </a:lvl4pPr>
            <a:lvl5pPr marL="2437912" indent="0">
              <a:buNone/>
              <a:defRPr sz="2133" b="1"/>
            </a:lvl5pPr>
            <a:lvl6pPr marL="3047390" indent="0">
              <a:buNone/>
              <a:defRPr sz="2133" b="1"/>
            </a:lvl6pPr>
            <a:lvl7pPr marL="3656869" indent="0">
              <a:buNone/>
              <a:defRPr sz="2133" b="1"/>
            </a:lvl7pPr>
            <a:lvl8pPr marL="4266347" indent="0">
              <a:buNone/>
              <a:defRPr sz="2133" b="1"/>
            </a:lvl8pPr>
            <a:lvl9pPr marL="4875824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4246157-5126-F644-8C5D-6F30E48835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8228796" y="3340100"/>
            <a:ext cx="6910243" cy="4912784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0B7D39BA-264B-F34A-A9C3-8D468AB8DD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A893CBCF-E905-7048-B343-31CC5463B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772F501B-40BB-F04B-9F66-BE119C2848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42655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51964B0-44AF-8145-807E-77B719D042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486836"/>
            <a:ext cx="14019431" cy="745619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D20C06AA-E53D-D84A-837A-AEB02F5B82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1EA30FD1-FFAA-A94F-9CBC-7A43914068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55D5ABC-62DF-8748-A9B4-58CF64D73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Bilde 6" descr="Et bilde som inneholder tekst&#10;&#10;Automatisk generert beskrivelse">
            <a:extLst>
              <a:ext uri="{FF2B5EF4-FFF2-40B4-BE49-F238E27FC236}">
                <a16:creationId xmlns:a16="http://schemas.microsoft.com/office/drawing/2014/main" id="{E711C565-CDED-5447-B20B-28C5B2403A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200820" y="8414445"/>
            <a:ext cx="2664900" cy="48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75252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9A73994D-4893-C941-8587-2440A6EB6A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6BF2788-7F6F-A947-A1C3-50468AC68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292F0E01-A41B-304E-922F-8790F4C472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49978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5C6596-75DD-D24B-9E5D-6B25E1F995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610" y="609600"/>
            <a:ext cx="5242471" cy="2133600"/>
          </a:xfrm>
        </p:spPr>
        <p:txBody>
          <a:bodyPr anchor="b"/>
          <a:lstStyle>
            <a:lvl1pPr>
              <a:defRPr sz="4266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C40EAC-2AC4-E44E-9EC1-EC7124EC72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0242" y="1316569"/>
            <a:ext cx="8228797" cy="6498167"/>
          </a:xfrm>
        </p:spPr>
        <p:txBody>
          <a:bodyPr/>
          <a:lstStyle>
            <a:lvl1pPr>
              <a:defRPr sz="4266"/>
            </a:lvl1pPr>
            <a:lvl2pPr>
              <a:defRPr sz="3733"/>
            </a:lvl2pPr>
            <a:lvl3pPr>
              <a:defRPr sz="3200"/>
            </a:lvl3pPr>
            <a:lvl4pPr>
              <a:defRPr sz="2666"/>
            </a:lvl4pPr>
            <a:lvl5pPr>
              <a:defRPr sz="2666"/>
            </a:lvl5pPr>
            <a:lvl6pPr>
              <a:defRPr sz="2666"/>
            </a:lvl6pPr>
            <a:lvl7pPr>
              <a:defRPr sz="2666"/>
            </a:lvl7pPr>
            <a:lvl8pPr>
              <a:defRPr sz="2666"/>
            </a:lvl8pPr>
            <a:lvl9pPr>
              <a:defRPr sz="2666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EF19D69-3F54-6140-899D-1511D2279B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9610" y="2743200"/>
            <a:ext cx="5242471" cy="5082117"/>
          </a:xfrm>
        </p:spPr>
        <p:txBody>
          <a:bodyPr/>
          <a:lstStyle>
            <a:lvl1pPr marL="0" indent="0">
              <a:buNone/>
              <a:defRPr sz="2133"/>
            </a:lvl1pPr>
            <a:lvl2pPr marL="609478" indent="0">
              <a:buNone/>
              <a:defRPr sz="1866"/>
            </a:lvl2pPr>
            <a:lvl3pPr marL="1218957" indent="0">
              <a:buNone/>
              <a:defRPr sz="1600"/>
            </a:lvl3pPr>
            <a:lvl4pPr marL="1828434" indent="0">
              <a:buNone/>
              <a:defRPr sz="1333"/>
            </a:lvl4pPr>
            <a:lvl5pPr marL="2437912" indent="0">
              <a:buNone/>
              <a:defRPr sz="1333"/>
            </a:lvl5pPr>
            <a:lvl6pPr marL="3047390" indent="0">
              <a:buNone/>
              <a:defRPr sz="1333"/>
            </a:lvl6pPr>
            <a:lvl7pPr marL="3656869" indent="0">
              <a:buNone/>
              <a:defRPr sz="1333"/>
            </a:lvl7pPr>
            <a:lvl8pPr marL="4266347" indent="0">
              <a:buNone/>
              <a:defRPr sz="1333"/>
            </a:lvl8pPr>
            <a:lvl9pPr marL="4875824" indent="0">
              <a:buNone/>
              <a:defRPr sz="1333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C2C0A402-12EA-004A-9492-6D550C681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AEAEC74-F5C6-E546-B086-FCBA6F36E8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AC2DA91-BC59-3C46-9199-44A253199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10454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F6C8696-F363-E54E-BBDE-5CDDA9DA1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9610" y="609600"/>
            <a:ext cx="5242471" cy="2133600"/>
          </a:xfrm>
        </p:spPr>
        <p:txBody>
          <a:bodyPr anchor="b"/>
          <a:lstStyle>
            <a:lvl1pPr>
              <a:defRPr sz="4266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F5764BED-2104-6649-AC40-32069FC2D8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910242" y="1316569"/>
            <a:ext cx="8228797" cy="6498167"/>
          </a:xfrm>
        </p:spPr>
        <p:txBody>
          <a:bodyPr/>
          <a:lstStyle>
            <a:lvl1pPr marL="0" indent="0">
              <a:buNone/>
              <a:defRPr sz="4266"/>
            </a:lvl1pPr>
            <a:lvl2pPr marL="609478" indent="0">
              <a:buNone/>
              <a:defRPr sz="3733"/>
            </a:lvl2pPr>
            <a:lvl3pPr marL="1218957" indent="0">
              <a:buNone/>
              <a:defRPr sz="3200"/>
            </a:lvl3pPr>
            <a:lvl4pPr marL="1828434" indent="0">
              <a:buNone/>
              <a:defRPr sz="2666"/>
            </a:lvl4pPr>
            <a:lvl5pPr marL="2437912" indent="0">
              <a:buNone/>
              <a:defRPr sz="2666"/>
            </a:lvl5pPr>
            <a:lvl6pPr marL="3047390" indent="0">
              <a:buNone/>
              <a:defRPr sz="2666"/>
            </a:lvl6pPr>
            <a:lvl7pPr marL="3656869" indent="0">
              <a:buNone/>
              <a:defRPr sz="2666"/>
            </a:lvl7pPr>
            <a:lvl8pPr marL="4266347" indent="0">
              <a:buNone/>
              <a:defRPr sz="2666"/>
            </a:lvl8pPr>
            <a:lvl9pPr marL="4875824" indent="0">
              <a:buNone/>
              <a:defRPr sz="2666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DFF88FB-0E66-EF45-A067-BABADFF3F0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19610" y="2743200"/>
            <a:ext cx="5242471" cy="5082117"/>
          </a:xfrm>
        </p:spPr>
        <p:txBody>
          <a:bodyPr/>
          <a:lstStyle>
            <a:lvl1pPr marL="0" indent="0">
              <a:buNone/>
              <a:defRPr sz="2133"/>
            </a:lvl1pPr>
            <a:lvl2pPr marL="609478" indent="0">
              <a:buNone/>
              <a:defRPr sz="1866"/>
            </a:lvl2pPr>
            <a:lvl3pPr marL="1218957" indent="0">
              <a:buNone/>
              <a:defRPr sz="1600"/>
            </a:lvl3pPr>
            <a:lvl4pPr marL="1828434" indent="0">
              <a:buNone/>
              <a:defRPr sz="1333"/>
            </a:lvl4pPr>
            <a:lvl5pPr marL="2437912" indent="0">
              <a:buNone/>
              <a:defRPr sz="1333"/>
            </a:lvl5pPr>
            <a:lvl6pPr marL="3047390" indent="0">
              <a:buNone/>
              <a:defRPr sz="1333"/>
            </a:lvl6pPr>
            <a:lvl7pPr marL="3656869" indent="0">
              <a:buNone/>
              <a:defRPr sz="1333"/>
            </a:lvl7pPr>
            <a:lvl8pPr marL="4266347" indent="0">
              <a:buNone/>
              <a:defRPr sz="1333"/>
            </a:lvl8pPr>
            <a:lvl9pPr marL="4875824" indent="0">
              <a:buNone/>
              <a:defRPr sz="1333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566E7E42-1413-9246-A8BA-AEB02A3AC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24ECE4A-84DC-9B48-AC1C-4E9A709B4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9CBF3B1-BC05-F347-AC8A-98482E8C61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0406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5EDEE46-7A48-7A45-ABF5-C385CFABF1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0660E215-67B6-2A46-A4ED-6EC3D52948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319F807-35FE-CF4F-9480-1FCA6536C4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8BE44E8-AC4F-404B-B133-CC7F84E1E9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A15947E-B03A-C84A-B304-8D0DCADB0B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19511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A76CDCF4-2174-AC49-AADC-3DD622500B7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1632064" y="486835"/>
            <a:ext cx="3504858" cy="7749117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745D82D1-B120-9A45-ABF5-9A887CE824E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117491" y="486835"/>
            <a:ext cx="10311393" cy="7749117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B1F5B51-1CBF-3342-9CF2-0F644BDB9C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F3687D-181E-CA41-919D-6AA2127A5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2A8D375-35CE-7C42-AC4C-82573B873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2226931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lsynet Introslide #1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hape&#10;&#10;Description automatically generated">
            <a:extLst>
              <a:ext uri="{FF2B5EF4-FFF2-40B4-BE49-F238E27FC236}">
                <a16:creationId xmlns:a16="http://schemas.microsoft.com/office/drawing/2014/main" id="{CB8C66A7-489D-41A0-A598-21F983F03B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7" y="0"/>
            <a:ext cx="16232740" cy="9144000"/>
          </a:xfrm>
          <a:prstGeom prst="rect">
            <a:avLst/>
          </a:prstGeom>
        </p:spPr>
      </p:pic>
      <p:sp>
        <p:nvSpPr>
          <p:cNvPr id="3" name="Tittel 1">
            <a:extLst>
              <a:ext uri="{FF2B5EF4-FFF2-40B4-BE49-F238E27FC236}">
                <a16:creationId xmlns:a16="http://schemas.microsoft.com/office/drawing/2014/main" id="{C13C0E25-958D-4BA1-BFE0-A9F3F9224A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411818" y="4322003"/>
            <a:ext cx="6869292" cy="153034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lang="en-US" sz="5000">
                <a:solidFill>
                  <a:srgbClr val="FFFFFF"/>
                </a:solidFill>
              </a:defRPr>
            </a:lvl1pPr>
          </a:lstStyle>
          <a:p>
            <a:pPr lvl="0"/>
            <a:r>
              <a:rPr lang="nb-NO"/>
              <a:t>Klikk for å redigere tittelsti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E304E0F-07D5-4B1D-901A-8200E6FA7619}"/>
              </a:ext>
            </a:extLst>
          </p:cNvPr>
          <p:cNvGrpSpPr/>
          <p:nvPr userDrawn="1"/>
        </p:nvGrpSpPr>
        <p:grpSpPr>
          <a:xfrm>
            <a:off x="2349443" y="495444"/>
            <a:ext cx="4659046" cy="1042845"/>
            <a:chOff x="2349443" y="495442"/>
            <a:chExt cx="4659046" cy="1042845"/>
          </a:xfrm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E2F17F22-D147-4BCD-9DEF-6C7DCAC2718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r="75027"/>
            <a:stretch/>
          </p:blipFill>
          <p:spPr>
            <a:xfrm>
              <a:off x="2349443" y="580553"/>
              <a:ext cx="660457" cy="470970"/>
            </a:xfrm>
            <a:prstGeom prst="rect">
              <a:avLst/>
            </a:prstGeom>
          </p:spPr>
        </p:pic>
        <p:pic>
          <p:nvPicPr>
            <p:cNvPr id="10" name="Picture 9" descr="Text&#10;&#10;Description automatically generated with medium confidence">
              <a:extLst>
                <a:ext uri="{FF2B5EF4-FFF2-40B4-BE49-F238E27FC236}">
                  <a16:creationId xmlns:a16="http://schemas.microsoft.com/office/drawing/2014/main" id="{23874D09-1164-4233-98E0-04F81CF0CF9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395"/>
            <a:stretch/>
          </p:blipFill>
          <p:spPr>
            <a:xfrm>
              <a:off x="3009900" y="495442"/>
              <a:ext cx="3998589" cy="10428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192100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2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5451731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7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5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6">
            <a:extLst>
              <a:ext uri="{FF2B5EF4-FFF2-40B4-BE49-F238E27FC236}">
                <a16:creationId xmlns:a16="http://schemas.microsoft.com/office/drawing/2014/main" id="{585A0138-C1C7-43B2-9C26-1FA7D87DAB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84" y="203820"/>
            <a:ext cx="2065553" cy="69897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339046-28FA-4EDE-A555-74F22B736F17}"/>
              </a:ext>
            </a:extLst>
          </p:cNvPr>
          <p:cNvSpPr txBox="1"/>
          <p:nvPr userDrawn="1"/>
        </p:nvSpPr>
        <p:spPr>
          <a:xfrm>
            <a:off x="14297867" y="404580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64158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74E436DA-5EDF-4073-8DFA-A139377E7D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358" y="1052409"/>
            <a:ext cx="6507849" cy="98090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359" y="3109713"/>
            <a:ext cx="10801349" cy="15303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19360" y="5811953"/>
            <a:ext cx="4140517" cy="1235392"/>
          </a:xfrm>
        </p:spPr>
        <p:txBody>
          <a:bodyPr>
            <a:normAutofit/>
          </a:bodyPr>
          <a:lstStyle>
            <a:lvl1pPr marL="0" indent="0" algn="l">
              <a:spcBef>
                <a:spcPts val="500"/>
              </a:spcBef>
              <a:buNone/>
              <a:defRPr sz="2000" i="0">
                <a:solidFill>
                  <a:schemeClr val="tx1"/>
                </a:solidFill>
              </a:defRPr>
            </a:lvl1pPr>
            <a:lvl2pPr marL="609482" indent="0" algn="ctr">
              <a:buNone/>
              <a:defRPr sz="2666"/>
            </a:lvl2pPr>
            <a:lvl3pPr marL="1218963" indent="0" algn="ctr">
              <a:buNone/>
              <a:defRPr sz="2400"/>
            </a:lvl3pPr>
            <a:lvl4pPr marL="1828445" indent="0" algn="ctr">
              <a:buNone/>
              <a:defRPr sz="2133"/>
            </a:lvl4pPr>
            <a:lvl5pPr marL="2437927" indent="0" algn="ctr">
              <a:buNone/>
              <a:defRPr sz="2133"/>
            </a:lvl5pPr>
            <a:lvl6pPr marL="3047409" indent="0" algn="ctr">
              <a:buNone/>
              <a:defRPr sz="2133"/>
            </a:lvl6pPr>
            <a:lvl7pPr marL="3656889" indent="0" algn="ctr">
              <a:buNone/>
              <a:defRPr sz="2133"/>
            </a:lvl7pPr>
            <a:lvl8pPr marL="4266372" indent="0" algn="ctr">
              <a:buNone/>
              <a:defRPr sz="2133"/>
            </a:lvl8pPr>
            <a:lvl9pPr marL="4875854" indent="0" algn="ctr">
              <a:buNone/>
              <a:defRPr sz="2133"/>
            </a:lvl9pPr>
          </a:lstStyle>
          <a:p>
            <a:r>
              <a:rPr lang="nb-NO"/>
              <a:t>Navn Navnesen</a:t>
            </a:r>
            <a:br>
              <a:rPr lang="nb-NO"/>
            </a:br>
            <a:r>
              <a:rPr lang="nb-NO"/>
              <a:t>Stilling</a:t>
            </a:r>
            <a:br>
              <a:rPr lang="nb-NO"/>
            </a:br>
            <a:r>
              <a:rPr lang="nb-NO"/>
              <a:t>Sted, Dato</a:t>
            </a:r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19358" y="5541920"/>
            <a:ext cx="252031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7626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359" y="467405"/>
            <a:ext cx="12808404" cy="6924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359" y="1440180"/>
            <a:ext cx="12808404" cy="63257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4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01654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B903A873-006D-4579-A766-77971C2F9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359" y="467405"/>
            <a:ext cx="12808404" cy="6924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E411B1FA-8C11-4362-8C2F-28A1942147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358" y="1440180"/>
            <a:ext cx="6300556" cy="63257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4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570002C8-2693-0C4A-82A4-2338F407AAE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127208" y="1440180"/>
            <a:ext cx="6300556" cy="63257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buClr>
                <a:schemeClr val="accent3"/>
              </a:buClr>
              <a:defRPr sz="4000"/>
            </a:lvl1pPr>
            <a:lvl2pPr>
              <a:buClr>
                <a:schemeClr val="accent3"/>
              </a:buClr>
              <a:defRPr/>
            </a:lvl2pPr>
            <a:lvl3pPr>
              <a:buClr>
                <a:schemeClr val="accent3"/>
              </a:buClr>
              <a:defRPr/>
            </a:lvl3pPr>
            <a:lvl4pPr>
              <a:buClr>
                <a:schemeClr val="accent3"/>
              </a:buClr>
              <a:defRPr/>
            </a:lvl4pPr>
            <a:lvl5pPr>
              <a:buClr>
                <a:schemeClr val="accent3"/>
              </a:buClr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714275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2107856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3DBF27AD-51E2-7740-8654-B20D64A8CE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4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4511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5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77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theme" Target="../theme/theme6.xml"/><Relationship Id="rId11" Type="http://schemas.openxmlformats.org/officeDocument/2006/relationships/image" Target="../media/image32.png"/><Relationship Id="rId5" Type="http://schemas.openxmlformats.org/officeDocument/2006/relationships/slideLayout" Target="../slideLayouts/slideLayout79.xml"/><Relationship Id="rId10" Type="http://schemas.openxmlformats.org/officeDocument/2006/relationships/image" Target="../media/image31.emf"/><Relationship Id="rId4" Type="http://schemas.openxmlformats.org/officeDocument/2006/relationships/slideLayout" Target="../slideLayouts/slideLayout7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7" r:id="rId2"/>
    <p:sldLayoutId id="2147483717" r:id="rId3"/>
    <p:sldLayoutId id="2147483713" r:id="rId4"/>
    <p:sldLayoutId id="2147483721" r:id="rId5"/>
    <p:sldLayoutId id="2147483720" r:id="rId6"/>
    <p:sldLayoutId id="2147483719" r:id="rId7"/>
    <p:sldLayoutId id="2147483718" r:id="rId8"/>
    <p:sldLayoutId id="2147483735" r:id="rId9"/>
    <p:sldLayoutId id="2147483736" r:id="rId10"/>
    <p:sldLayoutId id="2147483737" r:id="rId11"/>
    <p:sldLayoutId id="2147483650" r:id="rId12"/>
    <p:sldLayoutId id="2147483652" r:id="rId13"/>
    <p:sldLayoutId id="2147483657" r:id="rId14"/>
    <p:sldLayoutId id="2147483656" r:id="rId15"/>
    <p:sldLayoutId id="2147483669" r:id="rId16"/>
    <p:sldLayoutId id="2147483658" r:id="rId17"/>
    <p:sldLayoutId id="2147483659" r:id="rId18"/>
    <p:sldLayoutId id="2147483651" r:id="rId19"/>
    <p:sldLayoutId id="2147483671" r:id="rId20"/>
    <p:sldLayoutId id="2147483750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0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</p:sldLayoutIdLs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514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154430" y="1480956"/>
            <a:ext cx="13945554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154430" y="2453731"/>
            <a:ext cx="13945554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447" y="469286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429631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38" r:id="rId17"/>
    <p:sldLayoutId id="2147483770" r:id="rId18"/>
    <p:sldLayoutId id="2147483774" r:id="rId19"/>
    <p:sldLayoutId id="2147483739" r:id="rId20"/>
    <p:sldLayoutId id="2147483771" r:id="rId2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1A1662A-5CFB-1D40-980B-6EDD148CF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7491" y="486836"/>
            <a:ext cx="14019431" cy="176741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6D2AFDD-E5B4-7840-8B37-5156F8C9D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7491" y="2434167"/>
            <a:ext cx="14019431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AB40468F-A1EE-1C42-A70A-38A89C29E3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17491" y="8475136"/>
            <a:ext cx="365724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4A0AE0-A39A-0546-83D4-E130D2F7F2FC}" type="datetimeFigureOut">
              <a:rPr lang="nb-NO" smtClean="0"/>
              <a:t>25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80A1D8D-0395-D24B-AE23-76B0B473F7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84275" y="8475136"/>
            <a:ext cx="5485864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A1510CA-9B88-AF4E-89CF-A3CE2D263B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9679" y="8475136"/>
            <a:ext cx="365724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1B28C3-2713-584B-82D9-8663A56F622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7263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812" r:id="rId14"/>
  </p:sldLayoutIdLst>
  <p:txStyles>
    <p:titleStyle>
      <a:lvl1pPr algn="l" defTabSz="1218957" rtl="0" eaLnBrk="1" latinLnBrk="0" hangingPunct="1">
        <a:lnSpc>
          <a:spcPct val="90000"/>
        </a:lnSpc>
        <a:spcBef>
          <a:spcPct val="0"/>
        </a:spcBef>
        <a:buNone/>
        <a:defRPr sz="586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740" indent="-304740" algn="l" defTabSz="1218957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3733" kern="1200">
          <a:solidFill>
            <a:schemeClr val="tx1"/>
          </a:solidFill>
          <a:latin typeface="+mn-lt"/>
          <a:ea typeface="+mn-ea"/>
          <a:cs typeface="+mn-cs"/>
        </a:defRPr>
      </a:lvl1pPr>
      <a:lvl2pPr marL="914218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523696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666" kern="1200">
          <a:solidFill>
            <a:schemeClr val="tx1"/>
          </a:solidFill>
          <a:latin typeface="+mn-lt"/>
          <a:ea typeface="+mn-ea"/>
          <a:cs typeface="+mn-cs"/>
        </a:defRPr>
      </a:lvl3pPr>
      <a:lvl4pPr marL="2133173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742652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130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608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086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565" indent="-304740" algn="l" defTabSz="1218957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78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57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34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12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90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69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47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24" algn="l" defTabSz="121895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B8392F6-E2E7-469C-98C5-894F8F7BD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32559206"/>
              </p:ext>
            </p:extLst>
          </p:nvPr>
        </p:nvGraphicFramePr>
        <p:xfrm>
          <a:off x="2117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B8392F6-E2E7-469C-98C5-894F8F7BD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7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ACEB4AE-78E7-4EBB-AD12-326B9F0BDE3B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46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5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75A60698-4FC6-423B-9B3D-F2AFE01BE6D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6161" y="8293268"/>
            <a:ext cx="2543202" cy="383328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619359" y="467405"/>
            <a:ext cx="12808404" cy="6924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619359" y="1440180"/>
            <a:ext cx="12808404" cy="632578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62968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</p:sldLayoutIdLst>
  <p:txStyles>
    <p:titleStyle>
      <a:lvl1pPr algn="l" defTabSz="1218963" rtl="0" eaLnBrk="1" latinLnBrk="0" hangingPunct="1">
        <a:lnSpc>
          <a:spcPct val="90000"/>
        </a:lnSpc>
        <a:spcBef>
          <a:spcPct val="0"/>
        </a:spcBef>
        <a:buNone/>
        <a:defRPr sz="50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39946" indent="-539946" algn="l" defTabSz="1218963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700" kern="1200">
          <a:solidFill>
            <a:schemeClr val="tx2"/>
          </a:solidFill>
          <a:latin typeface="+mn-lt"/>
          <a:ea typeface="+mn-ea"/>
          <a:cs typeface="+mn-cs"/>
        </a:defRPr>
      </a:lvl1pPr>
      <a:lvl2pPr marL="899910" indent="-359964" algn="l" defTabSz="1218963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259874" indent="-359964" algn="l" defTabSz="1218963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619838" indent="-359964" algn="l" defTabSz="1218963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1979802" indent="-359964" algn="l" defTabSz="1218963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149" indent="-304740" algn="l" defTabSz="121896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630" indent="-304740" algn="l" defTabSz="121896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112" indent="-304740" algn="l" defTabSz="121896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594" indent="-304740" algn="l" defTabSz="1218963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82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63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45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27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09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89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72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54" algn="l" defTabSz="121896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4.xml"/><Relationship Id="rId1" Type="http://schemas.openxmlformats.org/officeDocument/2006/relationships/tags" Target="../tags/tag3.xml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4.xml"/><Relationship Id="rId4" Type="http://schemas.openxmlformats.org/officeDocument/2006/relationships/image" Target="../media/image3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8061A05-7AD6-4C71-8F6A-20FBDDE268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564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8061A05-7AD6-4C71-8F6A-20FBDDE26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7F2F2284-9E36-4EDA-99EA-F86E5B5D47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81227" y="4572001"/>
            <a:ext cx="9821070" cy="2543518"/>
          </a:xfrm>
        </p:spPr>
        <p:txBody>
          <a:bodyPr vert="horz">
            <a:normAutofit fontScale="90000"/>
          </a:bodyPr>
          <a:lstStyle/>
          <a:p>
            <a:r>
              <a:rPr lang="nb-NO" sz="5866" dirty="0"/>
              <a:t>Digital samhandling for å løse store samfunnsutfordringer</a:t>
            </a:r>
            <a:br>
              <a:rPr lang="nb-NO" sz="4133" dirty="0"/>
            </a:br>
            <a:r>
              <a:rPr lang="nb-NO" sz="4133" dirty="0"/>
              <a:t>Frode Danielsen, direktør Digdir</a:t>
            </a:r>
            <a:br>
              <a:rPr lang="nb-NO" sz="4133" dirty="0"/>
            </a:br>
            <a:r>
              <a:rPr lang="nb-NO" sz="4133" dirty="0"/>
              <a:t>28.9.2023</a:t>
            </a:r>
          </a:p>
        </p:txBody>
      </p:sp>
    </p:spTree>
    <p:extLst>
      <p:ext uri="{BB962C8B-B14F-4D97-AF65-F5344CB8AC3E}">
        <p14:creationId xmlns:p14="http://schemas.microsoft.com/office/powerpoint/2010/main" val="241272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DEA13CC-7FEE-4609-62E0-67981B4CF9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3364" y="2552266"/>
            <a:ext cx="7022499" cy="6357257"/>
          </a:xfrm>
        </p:spPr>
        <p:txBody>
          <a:bodyPr vert="horz" lIns="0" tIns="0" rIns="0" bIns="0" rtlCol="0" anchor="t">
            <a:normAutofit/>
          </a:bodyPr>
          <a:lstStyle/>
          <a:p>
            <a:pPr marL="539750" indent="-539750"/>
            <a:r>
              <a:rPr lang="nb-NO" dirty="0">
                <a:cs typeface="Arial"/>
              </a:rPr>
              <a:t>Staten får mindre inntekter og større utgifter</a:t>
            </a:r>
          </a:p>
          <a:p>
            <a:pPr marL="539750" indent="-539750"/>
            <a:r>
              <a:rPr lang="nb-NO" dirty="0">
                <a:cs typeface="Arial"/>
              </a:rPr>
              <a:t>Trusselbildet er vesentlig endret</a:t>
            </a:r>
          </a:p>
          <a:p>
            <a:pPr marL="539750" indent="-539750"/>
            <a:r>
              <a:rPr lang="nb-NO" dirty="0">
                <a:cs typeface="Arial"/>
              </a:rPr>
              <a:t>Digitale barrierer medfører at folk faller utenfor</a:t>
            </a:r>
          </a:p>
          <a:p>
            <a:pPr marL="539750" indent="-539750"/>
            <a:r>
              <a:rPr lang="nb-NO" dirty="0">
                <a:cs typeface="Arial"/>
              </a:rPr>
              <a:t>Vi må akselerere det grønne skiftet</a:t>
            </a:r>
          </a:p>
          <a:p>
            <a:pPr marL="539750" indent="-539750"/>
            <a:r>
              <a:rPr lang="nb-NO" dirty="0">
                <a:cs typeface="Arial"/>
              </a:rPr>
              <a:t>Raskere teknologiutvikling utfordrer omstillingsevne, kompetanse og sikkerhet</a:t>
            </a:r>
          </a:p>
          <a:p>
            <a:pPr marL="0" indent="0">
              <a:buNone/>
            </a:pPr>
            <a:endParaRPr lang="nb-NO" dirty="0">
              <a:cs typeface="Arial"/>
            </a:endParaRPr>
          </a:p>
          <a:p>
            <a:pPr marL="609478" lvl="1" indent="0">
              <a:buNone/>
            </a:pPr>
            <a:endParaRPr lang="nb-NO" dirty="0">
              <a:cs typeface="Arial"/>
            </a:endParaRPr>
          </a:p>
          <a:p>
            <a:pPr marL="1111250" lvl="1"/>
            <a:endParaRPr lang="nb-NO" dirty="0">
              <a:cs typeface="Arial"/>
            </a:endParaRPr>
          </a:p>
          <a:p>
            <a:pPr marL="539750" indent="-539750"/>
            <a:endParaRPr lang="nb-NO" dirty="0">
              <a:cs typeface="Arial"/>
            </a:endParaRPr>
          </a:p>
          <a:p>
            <a:pPr marL="1471295" lvl="2"/>
            <a:endParaRPr lang="nb-NO" dirty="0">
              <a:cs typeface="Arial"/>
            </a:endParaRP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288499AA-CACC-28DA-9B71-66E81CBF9A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88019" y="2552266"/>
            <a:ext cx="4039334" cy="2158486"/>
          </a:xfrm>
          <a:prstGeom prst="rect">
            <a:avLst/>
          </a:prstGeom>
        </p:spPr>
      </p:pic>
      <p:pic>
        <p:nvPicPr>
          <p:cNvPr id="5" name="Bilde 4">
            <a:extLst>
              <a:ext uri="{FF2B5EF4-FFF2-40B4-BE49-F238E27FC236}">
                <a16:creationId xmlns:a16="http://schemas.microsoft.com/office/drawing/2014/main" id="{91C6984F-059B-EE40-7A78-6F00076E8C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56896" y="5577406"/>
            <a:ext cx="3670457" cy="2006041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0CA6B92F-E2AA-2D60-C6A3-590967A1DF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19509" y="5592762"/>
            <a:ext cx="3661672" cy="200604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9BEA6789-42C6-1083-3865-DCD21FC028A4}"/>
              </a:ext>
            </a:extLst>
          </p:cNvPr>
          <p:cNvSpPr txBox="1"/>
          <p:nvPr/>
        </p:nvSpPr>
        <p:spPr>
          <a:xfrm rot="19935169">
            <a:off x="14931164" y="7250319"/>
            <a:ext cx="409086" cy="4407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KI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76F1CC8-7B44-D6CF-92C6-D945E0D361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219509" y="2552266"/>
            <a:ext cx="3748143" cy="2158486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691BF560-C946-C689-8557-1384CDA631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4431" y="1480956"/>
            <a:ext cx="13945552" cy="692497"/>
          </a:xfrm>
        </p:spPr>
        <p:txBody>
          <a:bodyPr>
            <a:normAutofit fontScale="90000"/>
          </a:bodyPr>
          <a:lstStyle/>
          <a:p>
            <a:r>
              <a:rPr lang="nb-NO" dirty="0"/>
              <a:t>Vi står overfor store utfordringer</a:t>
            </a:r>
          </a:p>
        </p:txBody>
      </p:sp>
    </p:spTree>
    <p:extLst>
      <p:ext uri="{BB962C8B-B14F-4D97-AF65-F5344CB8AC3E}">
        <p14:creationId xmlns:p14="http://schemas.microsoft.com/office/powerpoint/2010/main" val="413258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AAB7E16-24B4-F7DE-BB71-3A81B067F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00933" y="1453661"/>
            <a:ext cx="13945552" cy="692497"/>
          </a:xfrm>
        </p:spPr>
        <p:txBody>
          <a:bodyPr/>
          <a:lstStyle/>
          <a:p>
            <a:r>
              <a:rPr lang="nb-NO" dirty="0"/>
              <a:t>Vi må løse oppgavene annerlede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BF5F5C-68A3-139B-F91F-65246D2D89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nb-NO" dirty="0"/>
              <a:t>Tradisjonelle strukturer og tankesett medfører at vi ikke </a:t>
            </a:r>
            <a:r>
              <a:rPr lang="nb-NO"/>
              <a:t>utnytter potensiale </a:t>
            </a:r>
            <a:r>
              <a:rPr lang="nb-NO" dirty="0"/>
              <a:t>som ligger i digitalisering</a:t>
            </a:r>
          </a:p>
          <a:p>
            <a:r>
              <a:rPr lang="nb-NO" dirty="0"/>
              <a:t>Offentlige virksomheter blir ikke målt på tverrgående digitalisering</a:t>
            </a:r>
          </a:p>
          <a:p>
            <a:r>
              <a:rPr lang="nb-NO" dirty="0"/>
              <a:t>Virksomhetene må tenke tverrgående «som </a:t>
            </a:r>
            <a:r>
              <a:rPr lang="nb-NO" dirty="0" err="1"/>
              <a:t>default</a:t>
            </a:r>
            <a:r>
              <a:rPr lang="nb-NO" dirty="0"/>
              <a:t>»</a:t>
            </a:r>
          </a:p>
          <a:p>
            <a:r>
              <a:rPr lang="nb-NO" dirty="0"/>
              <a:t>Hvordan kan vi legge bedre til rette for innovasjon og digital transformasjon?</a:t>
            </a:r>
          </a:p>
          <a:p>
            <a:pPr lvl="1"/>
            <a:r>
              <a:rPr lang="nb-NO" dirty="0"/>
              <a:t>Få på plass smidigere finansieringsmekanismer</a:t>
            </a:r>
          </a:p>
          <a:p>
            <a:pPr lvl="1"/>
            <a:r>
              <a:rPr lang="nb-NO" dirty="0"/>
              <a:t>Unngå detaljstyring</a:t>
            </a:r>
          </a:p>
          <a:p>
            <a:pPr lvl="1"/>
            <a:r>
              <a:rPr lang="nb-NO" dirty="0"/>
              <a:t>Tenk stort, start smått</a:t>
            </a:r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7301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C3B401-5E3A-D3AB-CA28-A27D7532F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 å lykkes må vi heve kunnskap og kompetans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B3A3EF1-F182-F763-9404-9EA0A15876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Vi må utvikle samfunnskompetansen knyttet til digitalisering</a:t>
            </a:r>
          </a:p>
          <a:p>
            <a:pPr lvl="1"/>
            <a:r>
              <a:rPr lang="nb-NO" dirty="0"/>
              <a:t>Politikere og styresmakter må få forståelse for hvor sentralt digitalisering er for å videreutvikle samfunnet </a:t>
            </a:r>
          </a:p>
          <a:p>
            <a:pPr lvl="1"/>
            <a:r>
              <a:rPr lang="nb-NO" dirty="0"/>
              <a:t>Ledere må ha kompetanse digital transformasjon </a:t>
            </a:r>
          </a:p>
          <a:p>
            <a:pPr lvl="1"/>
            <a:r>
              <a:rPr lang="nb-NO" dirty="0"/>
              <a:t>Vi må ha flere teknologer – og utvikle digital kompetanse i alle profesjoner</a:t>
            </a:r>
          </a:p>
          <a:p>
            <a:pPr lvl="1"/>
            <a:r>
              <a:rPr lang="nb-NO" dirty="0"/>
              <a:t>Vi må ikke glemme brukerperspektivet </a:t>
            </a:r>
          </a:p>
          <a:p>
            <a:pPr lvl="1"/>
            <a:endParaRPr lang="nb-NO" dirty="0"/>
          </a:p>
          <a:p>
            <a:pPr marL="0" indent="0">
              <a:buNone/>
            </a:pPr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60130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9F18BA2-DD2D-060A-CFFD-8435BB6734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564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9F18BA2-DD2D-060A-CFFD-8435BB6734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63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z0pEkq547_xobFT6FX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2.xml><?xml version="1.0" encoding="utf-8"?>
<a:theme xmlns:a="http://schemas.openxmlformats.org/drawingml/2006/main" name="Overgang Introslides - Med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3.xml><?xml version="1.0" encoding="utf-8"?>
<a:theme xmlns:a="http://schemas.openxmlformats.org/drawingml/2006/main" name="Overgang Introslides - Uten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4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5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01. Digitaliseringsdirektoratet (Gråtoner)">
  <a:themeElements>
    <a:clrScheme name="Blå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000066"/>
      </a:accent1>
      <a:accent2>
        <a:srgbClr val="1EAEF7"/>
      </a:accent2>
      <a:accent3>
        <a:srgbClr val="0062BA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gitaliseringsdirektoratet_ppt_v5 (3).pptx" id="{21C50E5C-FEB5-41F8-98BF-E5A8EF2DBD0C}" vid="{3CFB8A12-E9D3-477B-993E-CB7C23F4F34C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A59A2986BC87C438DE22EE210D7EBC7" ma:contentTypeVersion="12" ma:contentTypeDescription="Opprett et nytt dokument." ma:contentTypeScope="" ma:versionID="ef8115253647c635669c6df83a41b715">
  <xsd:schema xmlns:xsd="http://www.w3.org/2001/XMLSchema" xmlns:xs="http://www.w3.org/2001/XMLSchema" xmlns:p="http://schemas.microsoft.com/office/2006/metadata/properties" xmlns:ns2="6870439d-6ccc-49b0-b65d-4397afc189c1" xmlns:ns3="80e835c4-551e-4876-b4fc-24ce8fc1a2f4" targetNamespace="http://schemas.microsoft.com/office/2006/metadata/properties" ma:root="true" ma:fieldsID="ae7a296dfab50e1fbeb0739a05454907" ns2:_="" ns3:_="">
    <xsd:import namespace="6870439d-6ccc-49b0-b65d-4397afc189c1"/>
    <xsd:import namespace="80e835c4-551e-4876-b4fc-24ce8fc1a2f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0439d-6ccc-49b0-b65d-4397afc189c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Bildemerkelapper" ma:readOnly="false" ma:fieldId="{5cf76f15-5ced-4ddc-b409-7134ff3c332f}" ma:taxonomyMulti="true" ma:sspId="53ac7b7e-8fcb-443e-82a4-9bfbac99ce3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e835c4-551e-4876-b4fc-24ce8fc1a2f4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e6830155-244f-4839-a7cb-928e86f514e3}" ma:internalName="TaxCatchAll" ma:showField="CatchAllData" ma:web="80e835c4-551e-4876-b4fc-24ce8fc1a2f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870439d-6ccc-49b0-b65d-4397afc189c1">
      <Terms xmlns="http://schemas.microsoft.com/office/infopath/2007/PartnerControls"/>
    </lcf76f155ced4ddcb4097134ff3c332f>
    <TaxCatchAll xmlns="80e835c4-551e-4876-b4fc-24ce8fc1a2f4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8E45CB1-70E8-42AC-AA66-D66362B0B47A}"/>
</file>

<file path=customXml/itemProps2.xml><?xml version="1.0" encoding="utf-8"?>
<ds:datastoreItem xmlns:ds="http://schemas.openxmlformats.org/officeDocument/2006/customXml" ds:itemID="{624A6024-885E-49A0-86BE-37C64C2CC693}">
  <ds:schemaRefs>
    <ds:schemaRef ds:uri="58cd8ae0-8c06-403c-90cc-8800f35adbc6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schemas.microsoft.com/office/2006/documentManagement/types"/>
    <ds:schemaRef ds:uri="1fd1b8d6-9efb-4a8b-874f-96e560f6c191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0736044-05F4-4E25-AB27-A5061EAEEF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752</TotalTime>
  <Words>171</Words>
  <Application>Microsoft Office PowerPoint</Application>
  <PresentationFormat>Egendefinert</PresentationFormat>
  <Paragraphs>31</Paragraphs>
  <Slides>5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6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5" baseType="lpstr">
      <vt:lpstr>Arial</vt:lpstr>
      <vt:lpstr>Calibri</vt:lpstr>
      <vt:lpstr>Calibri Light</vt:lpstr>
      <vt:lpstr>Digdir PPTmal</vt:lpstr>
      <vt:lpstr>Overgang Introslides - Med lyd</vt:lpstr>
      <vt:lpstr>Overgang Introslides - Uten lyd</vt:lpstr>
      <vt:lpstr>Digdir PPTmal</vt:lpstr>
      <vt:lpstr>1_Office-tema</vt:lpstr>
      <vt:lpstr>01. Digitaliseringsdirektoratet (Gråtoner)</vt:lpstr>
      <vt:lpstr>think-cell Slide</vt:lpstr>
      <vt:lpstr>Digital samhandling for å løse store samfunnsutfordringer Frode Danielsen, direktør Digdir 28.9.2023</vt:lpstr>
      <vt:lpstr>Vi står overfor store utfordringer</vt:lpstr>
      <vt:lpstr>Vi må løse oppgavene annerledes</vt:lpstr>
      <vt:lpstr>For å lykkes må vi heve kunnskap og kompetans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vensen, Marcus Alexander</dc:creator>
  <cp:lastModifiedBy>Danielsen, Frode</cp:lastModifiedBy>
  <cp:revision>18</cp:revision>
  <dcterms:created xsi:type="dcterms:W3CDTF">2017-11-06T06:44:02Z</dcterms:created>
  <dcterms:modified xsi:type="dcterms:W3CDTF">2023-09-25T08:1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A59A2986BC87C438DE22EE210D7EBC7</vt:lpwstr>
  </property>
</Properties>
</file>